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Leaf 1</cx:pt>
          <cx:pt idx="1">Leaf 2</cx:pt>
          <cx:pt idx="2">Leaf 3</cx:pt>
          <cx:pt idx="3">Leaf 4</cx:pt>
          <cx:pt idx="4">Leaf 5</cx:pt>
          <cx:pt idx="7">Leaf 8</cx:pt>
          <cx:pt idx="9">Leaf 10</cx:pt>
          <cx:pt idx="10">Leaf 11</cx:pt>
          <cx:pt idx="11">Leaf 12</cx:pt>
          <cx:pt idx="12">Leaf 13</cx:pt>
          <cx:pt idx="13">Leaf 14</cx:pt>
          <cx:pt idx="14">Leaf 15</cx:pt>
        </cx:lvl>
        <cx:lvl ptCount="16">
          <cx:pt idx="0">Stem 1</cx:pt>
          <cx:pt idx="1">Stem 1</cx:pt>
          <cx:pt idx="2">Stem 1</cx:pt>
          <cx:pt idx="3">Stem 2</cx:pt>
          <cx:pt idx="4">Stem 2</cx:pt>
          <cx:pt idx="5">Leaf 6</cx:pt>
          <cx:pt idx="6">Leaf 7</cx:pt>
          <cx:pt idx="7">Stem 3</cx:pt>
          <cx:pt idx="8">Leaf 9</cx:pt>
          <cx:pt idx="9">Stem 4</cx:pt>
          <cx:pt idx="10">Stem 4</cx:pt>
          <cx:pt idx="11">Stem 5</cx:pt>
          <cx:pt idx="12">Stem 5</cx:pt>
          <cx:pt idx="13">Stem 6</cx:pt>
          <cx:pt idx="14">Stem 6</cx:pt>
          <cx:pt idx="15">Leaf 16</cx:pt>
        </cx:lvl>
        <cx:lvl ptCount="16">
          <cx:pt idx="0">Branch 1</cx:pt>
          <cx:pt idx="1">Branch 1</cx:pt>
          <cx:pt idx="2">Branch 1</cx:pt>
          <cx:pt idx="3">Branch 1</cx:pt>
          <cx:pt idx="4">Branch 1</cx:pt>
          <cx:pt idx="5">Branch 1</cx:pt>
          <cx:pt idx="6">Branch 1</cx:pt>
          <cx:pt idx="7">Branch 2</cx:pt>
          <cx:pt idx="8">Branch 2</cx:pt>
          <cx:pt idx="9">Branch 2</cx:pt>
          <cx:pt idx="10">Branch 2</cx:pt>
          <cx:pt idx="11">Branch 3</cx:pt>
          <cx:pt idx="12">Branch 3</cx:pt>
          <cx:pt idx="13">Branch 3</cx:pt>
          <cx:pt idx="14">Branch 3</cx:pt>
          <cx:pt idx="15">Branch 3</cx:pt>
        </cx:lvl>
      </cx:strDim>
      <cx:numDim type="size">
        <cx:f>Sheet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14</cx:pt>
          <cx:pt idx="7">25</cx:pt>
          <cx:pt idx="8">16</cx:pt>
          <cx:pt idx="9">24</cx:pt>
          <cx:pt idx="10">89</cx:pt>
          <cx:pt idx="11">16</cx:pt>
          <cx:pt idx="12">19</cx:pt>
          <cx:pt idx="13">86</cx:pt>
          <cx:pt idx="14">23</cx:pt>
          <cx:pt idx="15">21</cx:pt>
        </cx:lvl>
      </cx:numDim>
    </cx:data>
  </cx:chartData>
  <cx:chart>
    <cx:plotArea>
      <cx:plotAreaRegion>
        <cx:series layoutId="sunburst" uniqueId="{B67674FC-F1F3-423D-9C0F-582ED41D3B84}">
          <cx:tx>
            <cx:txData>
              <cx:f>Sheet1!$D$1</cx:f>
              <cx:v>Series1</cx:v>
            </cx:txData>
          </cx:tx>
          <cx:dataLabels pos="ctr">
            <cx:visibility seriesName="0" categoryName="1" value="0"/>
          </cx:dataLabels>
          <cx:dataId val="0"/>
        </cx:series>
      </cx:plotAreaRegion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Leaf 1</cx:pt>
          <cx:pt idx="1">Leaf 2</cx:pt>
          <cx:pt idx="2">Leaf 3</cx:pt>
          <cx:pt idx="3">Leaf 4</cx:pt>
          <cx:pt idx="4">Leaf 5</cx:pt>
          <cx:pt idx="7">Leaf 8</cx:pt>
          <cx:pt idx="9">Leaf 10</cx:pt>
          <cx:pt idx="10">Leaf 11</cx:pt>
          <cx:pt idx="11">Leaf 12</cx:pt>
          <cx:pt idx="12">Leaf 13</cx:pt>
          <cx:pt idx="13">Leaf 14</cx:pt>
          <cx:pt idx="14">Leaf 15</cx:pt>
        </cx:lvl>
        <cx:lvl ptCount="16">
          <cx:pt idx="0">Stem 1</cx:pt>
          <cx:pt idx="1">Stem 1</cx:pt>
          <cx:pt idx="2">Stem 1</cx:pt>
          <cx:pt idx="3">Stem 2</cx:pt>
          <cx:pt idx="4">Stem 2</cx:pt>
          <cx:pt idx="5">Leaf 6</cx:pt>
          <cx:pt idx="6">Leaf 7</cx:pt>
          <cx:pt idx="7">Stem 3</cx:pt>
          <cx:pt idx="8">Leaf 9</cx:pt>
          <cx:pt idx="9">Stem 4</cx:pt>
          <cx:pt idx="10">Stem 4</cx:pt>
          <cx:pt idx="11">Stem 5</cx:pt>
          <cx:pt idx="12">Stem 5</cx:pt>
          <cx:pt idx="13">Stem 6</cx:pt>
          <cx:pt idx="14">Stem 6</cx:pt>
          <cx:pt idx="15">Leaf 16</cx:pt>
        </cx:lvl>
        <cx:lvl ptCount="16">
          <cx:pt idx="0">Branch 1</cx:pt>
          <cx:pt idx="1">Branch 1</cx:pt>
          <cx:pt idx="2">Branch 1</cx:pt>
          <cx:pt idx="3">Branch 1</cx:pt>
          <cx:pt idx="4">Branch 1</cx:pt>
          <cx:pt idx="5">Branch 1</cx:pt>
          <cx:pt idx="6">Branch 1</cx:pt>
          <cx:pt idx="7">Branch 2</cx:pt>
          <cx:pt idx="8">Branch 2</cx:pt>
          <cx:pt idx="9">Branch 2</cx:pt>
          <cx:pt idx="10">Branch 2</cx:pt>
          <cx:pt idx="11">Branch 3</cx:pt>
          <cx:pt idx="12">Branch 3</cx:pt>
          <cx:pt idx="13">Branch 3</cx:pt>
          <cx:pt idx="14">Branch 3</cx:pt>
          <cx:pt idx="15">Branch 3</cx:pt>
        </cx:lvl>
      </cx:strDim>
      <cx:numDim type="size">
        <cx:f>Sheet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14</cx:pt>
          <cx:pt idx="7">25</cx:pt>
          <cx:pt idx="8">16</cx:pt>
          <cx:pt idx="9">24</cx:pt>
          <cx:pt idx="10">89</cx:pt>
          <cx:pt idx="11">16</cx:pt>
          <cx:pt idx="12">19</cx:pt>
          <cx:pt idx="13">86</cx:pt>
          <cx:pt idx="14">23</cx:pt>
          <cx:pt idx="15">21</cx:pt>
        </cx:lvl>
      </cx:numDim>
    </cx:data>
  </cx:chartData>
  <cx:chart>
    <cx:plotArea>
      <cx:plotAreaRegion>
        <cx:series layoutId="sunburst" uniqueId="{B67674FC-F1F3-423D-9C0F-582ED41D3B84}">
          <cx:tx>
            <cx:txData>
              <cx:f>Sheet1!$D$1</cx:f>
              <cx:v>Series1</cx:v>
            </cx:txData>
          </cx:tx>
          <cx:dataLabels pos="ctr">
            <cx:visibility seriesName="0" categoryName="1" value="0"/>
          </cx:dataLabels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microsoft.com/office/2014/relationships/chartEx" Target="../charts/chartEx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2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A307EC-8EA7-0C57-3ECF-1F460D7E7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98682B6-AEFB-0FE8-4DC0-EDD9F5E2F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682B6-AEFB-0FE8-4DC0-EDD9F5E2F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38BCA78-6483-09BE-A876-8130EDFBF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Sunburst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754CBFC-D87B-CB2C-33F3-9944739D3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E6707E6-38DE-C0D3-7D12-D3606FB9EB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C8A08CF-1F43-4C52-F9F5-28C291233E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98B0091A-DE39-137E-3083-7D4CE10E33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8811522A-257C-96BF-B9D2-B5239A480110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8811522A-257C-96BF-B9D2-B5239A48011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Placeholder 7">
                <a:extLst>
                  <a:ext uri="{FF2B5EF4-FFF2-40B4-BE49-F238E27FC236}">
                    <a16:creationId xmlns:a16="http://schemas.microsoft.com/office/drawing/2014/main" id="{2CC7E2E5-4847-FA0A-6557-DBF71F2969E0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7"/>
              </p:nvPr>
            </p:nvGraphicFramePr>
            <p:xfrm>
              <a:off x="6392863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9" name="Chart Placeholder 7">
                <a:extLst>
                  <a:ext uri="{FF2B5EF4-FFF2-40B4-BE49-F238E27FC236}">
                    <a16:creationId xmlns:a16="http://schemas.microsoft.com/office/drawing/2014/main" id="{2CC7E2E5-4847-FA0A-6557-DBF71F2969E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392863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44885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Sunburst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8</cp:revision>
  <dcterms:created xsi:type="dcterms:W3CDTF">2025-07-09T10:57:17Z</dcterms:created>
  <dcterms:modified xsi:type="dcterms:W3CDTF">2025-10-22T10:08:48Z</dcterms:modified>
  <cp:category/>
</cp:coreProperties>
</file>